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m4a" ContentType="audio/mp4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1" r:id="rId2"/>
    <p:sldMasterId id="2147483682" r:id="rId3"/>
    <p:sldMasterId id="2147483686" r:id="rId4"/>
    <p:sldMasterId id="2147483696" r:id="rId5"/>
  </p:sldMasterIdLst>
  <p:notesMasterIdLst>
    <p:notesMasterId r:id="rId15"/>
  </p:notesMasterIdLst>
  <p:sldIdLst>
    <p:sldId id="268" r:id="rId6"/>
    <p:sldId id="269" r:id="rId7"/>
    <p:sldId id="270" r:id="rId8"/>
    <p:sldId id="271" r:id="rId9"/>
    <p:sldId id="280" r:id="rId10"/>
    <p:sldId id="272" r:id="rId11"/>
    <p:sldId id="273" r:id="rId12"/>
    <p:sldId id="277" r:id="rId13"/>
    <p:sldId id="274" r:id="rId14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6" autoAdjust="0"/>
    <p:restoredTop sz="71875" autoAdjust="0"/>
  </p:normalViewPr>
  <p:slideViewPr>
    <p:cSldViewPr snapToGrid="0">
      <p:cViewPr varScale="1">
        <p:scale>
          <a:sx n="51" d="100"/>
          <a:sy n="51" d="100"/>
        </p:scale>
        <p:origin x="148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6A29F7-9920-43DF-A8A6-B01B2135A84F}" type="datetimeFigureOut">
              <a:rPr lang="sv-SE" smtClean="0"/>
              <a:t>2019-05-02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63DE4D-5A33-474F-B958-89661B690AA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375667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2C0A92-4EA5-440B-ADBF-E66777D3344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541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b="0" u="none" dirty="0" smtClean="0"/>
              <a:t>Denna bild förklarar vad nationella vård- och insatsprogram inom psykisk hälsa är (förkortas</a:t>
            </a:r>
            <a:r>
              <a:rPr lang="sv-SE" b="0" u="none" baseline="0" dirty="0" smtClean="0"/>
              <a:t> VIP)</a:t>
            </a:r>
            <a:endParaRPr lang="sv-SE" b="0" u="none" dirty="0" smtClean="0"/>
          </a:p>
          <a:p>
            <a:endParaRPr lang="sv-SE" b="0" u="none" dirty="0" smtClean="0"/>
          </a:p>
          <a:p>
            <a:r>
              <a:rPr lang="sv-SE" b="0" u="none" dirty="0" smtClean="0"/>
              <a:t>Länkens adress: https://www.uppdragpsykiskhalsa.se/kunskapsutbyte/arbetsgang-for-arbetsgruppen/ </a:t>
            </a:r>
          </a:p>
          <a:p>
            <a:endParaRPr lang="sv-SE" b="0" u="non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62CB38-D65A-435C-8F2E-C9E943219461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67300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Denna bild förklarar</a:t>
            </a:r>
            <a:r>
              <a:rPr lang="sv-SE" baseline="0" dirty="0" smtClean="0"/>
              <a:t> vad</a:t>
            </a:r>
            <a:r>
              <a:rPr lang="sv-SE" dirty="0" smtClean="0"/>
              <a:t> ”Struktur för kunskapsutbyte” är</a:t>
            </a:r>
          </a:p>
          <a:p>
            <a:endParaRPr lang="sv-SE" dirty="0" smtClean="0"/>
          </a:p>
          <a:p>
            <a:r>
              <a:rPr lang="sv-SE" dirty="0" smtClean="0"/>
              <a:t>Länkens adress: https://www.uppdragpsykiskhalsa.se/kunskapsutbyte/</a:t>
            </a:r>
          </a:p>
          <a:p>
            <a:endParaRPr lang="sv-SE" dirty="0" smtClean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62CB38-D65A-435C-8F2E-C9E943219461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35866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Länkens adress: https://www.vardochinsats.se/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62CB38-D65A-435C-8F2E-C9E943219461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584223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Länkens adress: https://www.vardochinsats.se/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62CB38-D65A-435C-8F2E-C9E943219461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745707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smtClean="0"/>
              <a:t>https://www.vardochinsats.se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smtClean="0"/>
              <a:t>Enkät</a:t>
            </a:r>
            <a:r>
              <a:rPr lang="sv-SE" baseline="0" dirty="0" smtClean="0"/>
              <a:t> för utkastversion</a:t>
            </a:r>
            <a:r>
              <a:rPr lang="sv-SE" dirty="0" smtClean="0"/>
              <a:t>:</a:t>
            </a:r>
            <a:r>
              <a:rPr lang="sv-SE" baseline="0" dirty="0" smtClean="0"/>
              <a:t> </a:t>
            </a:r>
            <a:r>
              <a:rPr lang="sv-SE" dirty="0" smtClean="0"/>
              <a:t>https://docs.google.com/forms/d/e/1FAIpQLSfEDZkzqA-sFHcyxQR90hwmhWDA1FXUMFK-CDezIuYi8QKmlQ/viewfor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smtClean="0"/>
              <a:t>Enkät för färdig</a:t>
            </a:r>
            <a:r>
              <a:rPr lang="sv-SE" baseline="0" dirty="0" smtClean="0"/>
              <a:t> version: https://docs.google.com/forms/d/e/1FAIpQLScHNElDF96RTIlcz-a8S4r3PADTAAK0UKydVTLYszPWZu_uwA/viewform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62CB38-D65A-435C-8F2E-C9E943219461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039058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smtClean="0"/>
              <a:t>https://www.vardochinsats.se/test-av-anvaendbarhet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smtClean="0"/>
              <a:t>https://www.vardochinsats.se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smtClean="0"/>
              <a:t>Enkät</a:t>
            </a:r>
            <a:r>
              <a:rPr lang="sv-SE" baseline="0" dirty="0" smtClean="0"/>
              <a:t> för utkastversion</a:t>
            </a:r>
            <a:r>
              <a:rPr lang="sv-SE" dirty="0" smtClean="0"/>
              <a:t>:</a:t>
            </a:r>
            <a:r>
              <a:rPr lang="sv-SE" baseline="0" dirty="0" smtClean="0"/>
              <a:t> </a:t>
            </a:r>
            <a:r>
              <a:rPr lang="sv-SE" dirty="0" smtClean="0"/>
              <a:t>https://docs.google.com/forms/d/e/1FAIpQLSfEDZkzqA-sFHcyxQR90hwmhWDA1FXUMFK-CDezIuYi8QKmlQ/viewfor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smtClean="0"/>
              <a:t>Enkät för färdig</a:t>
            </a:r>
            <a:r>
              <a:rPr lang="sv-SE" baseline="0" dirty="0" smtClean="0"/>
              <a:t> version: https://docs.google.com/forms/d/e/1FAIpQLScHNElDF96RTIlcz-a8S4r3PADTAAK0UKydVTLYszPWZu_uwA/viewform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62CB38-D65A-435C-8F2E-C9E943219461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673954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b="0" u="none" dirty="0" smtClean="0"/>
              <a:t>https://www.vardochinsats.se/media/1056/anvaendarguide-190326.pptx</a:t>
            </a:r>
            <a:endParaRPr lang="sv-SE" b="0" u="non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62CB38-D65A-435C-8F2E-C9E943219461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47083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62CB38-D65A-435C-8F2E-C9E943219461}" type="slidenum">
              <a:rPr lang="sv-SE" smtClean="0"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040111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4400"/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666000" y="4809600"/>
            <a:ext cx="9608400" cy="1425600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smtClean="0"/>
              <a:t>Klicka om du vill redigera mall för under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C18DA-410A-4124-BB0F-DE8CA676B1E5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725573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C18DA-410A-4124-BB0F-DE8CA676B1E5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11653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4400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666000" y="4809600"/>
            <a:ext cx="9608400" cy="1425600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2D259-ACB8-4FD1-AC0F-9CAC8F5E07E0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75484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-1499"/>
            <a:ext cx="12192599" cy="6859498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3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50"/>
            <a:ext cx="9608400" cy="1310850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B42D259-ACB8-4FD1-AC0F-9CAC8F5E07E0}" type="datetimeFigureOut">
              <a:rPr lang="sv-SE" smtClean="0"/>
              <a:pPr/>
              <a:t>2019-05-02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1585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2D259-ACB8-4FD1-AC0F-9CAC8F5E07E0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189611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0" y="4810125"/>
            <a:ext cx="9608400" cy="14271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B42D259-ACB8-4FD1-AC0F-9CAC8F5E07E0}" type="datetimeFigureOut">
              <a:rPr lang="sv-SE" smtClean="0"/>
              <a:pPr/>
              <a:t>2019-05-02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881808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4716000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5552325" y="2494800"/>
            <a:ext cx="4716000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2D259-ACB8-4FD1-AC0F-9CAC8F5E07E0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324163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törre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4234" y="874602"/>
            <a:ext cx="5326992" cy="122851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5325226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095999" y="874602"/>
            <a:ext cx="4172325" cy="536059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2D259-ACB8-4FD1-AC0F-9CAC8F5E07E0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528585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875015"/>
            <a:ext cx="9608400" cy="1228105"/>
          </a:xfrm>
        </p:spPr>
        <p:txBody>
          <a:bodyPr>
            <a:noAutofit/>
          </a:bodyPr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1" y="2162175"/>
            <a:ext cx="47160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66000" y="2845950"/>
            <a:ext cx="4716000" cy="3391337"/>
          </a:xfrm>
        </p:spPr>
        <p:txBody>
          <a:bodyPr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5551200" y="2162175"/>
            <a:ext cx="47232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5551200" y="2847600"/>
            <a:ext cx="4716000" cy="3391200"/>
          </a:xfrm>
        </p:spPr>
        <p:txBody>
          <a:bodyPr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2D259-ACB8-4FD1-AC0F-9CAC8F5E07E0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319283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2D259-ACB8-4FD1-AC0F-9CAC8F5E07E0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273871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2D259-ACB8-4FD1-AC0F-9CAC8F5E07E0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010009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-1499"/>
            <a:ext cx="12192599" cy="6859498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3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50"/>
            <a:ext cx="9608400" cy="1310850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65C18DA-410A-4124-BB0F-DE8CA676B1E5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6486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2D259-ACB8-4FD1-AC0F-9CAC8F5E07E0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108873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ult avsni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7964"/>
            <a:ext cx="9608400" cy="1966912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rgbClr val="FFFFFF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42D259-ACB8-4FD1-AC0F-9CAC8F5E07E0}" type="datetimeFigureOut">
              <a:rPr lang="sv-SE" smtClean="0"/>
              <a:pPr/>
              <a:t>2019-05-02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9" name="Bildobjekt 8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7096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ött avsni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7964"/>
            <a:ext cx="9608400" cy="1966912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rgbClr val="FFFFFF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42D259-ACB8-4FD1-AC0F-9CAC8F5E07E0}" type="datetimeFigureOut">
              <a:rPr lang="sv-SE" smtClean="0"/>
              <a:pPr/>
              <a:t>2019-05-02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8" name="Bildobjekt 7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9451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ått avsni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7964"/>
            <a:ext cx="9608400" cy="1966912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rgbClr val="FFFFFF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42D259-ACB8-4FD1-AC0F-9CAC8F5E07E0}" type="datetimeFigureOut">
              <a:rPr lang="sv-SE" smtClean="0"/>
              <a:pPr/>
              <a:t>2019-05-02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996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-1499"/>
            <a:ext cx="12192599" cy="6859498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3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50"/>
            <a:ext cx="9608400" cy="1310850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B42D259-ACB8-4FD1-AC0F-9CAC8F5E07E0}" type="datetimeFigureOut">
              <a:rPr lang="sv-SE" smtClean="0"/>
              <a:pPr/>
              <a:t>2019-05-02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191760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4400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666000" y="4809600"/>
            <a:ext cx="9608400" cy="1425600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0B7FC-8DD1-423E-8EF4-94D7897E47A9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273154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0B7FC-8DD1-423E-8EF4-94D7897E47A9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749396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0" y="4810125"/>
            <a:ext cx="9608400" cy="14271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30B7FC-8DD1-423E-8EF4-94D7897E47A9}" type="datetimeFigureOut">
              <a:rPr lang="sv-SE" smtClean="0"/>
              <a:pPr/>
              <a:t>2019-05-02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A89D212-3966-4D00-A59B-EFC19ACC4594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405954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4716000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5552325" y="2494800"/>
            <a:ext cx="4716000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0B7FC-8DD1-423E-8EF4-94D7897E47A9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107367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törre höger mö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4234" y="975186"/>
            <a:ext cx="5326992" cy="1112405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5325226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095999" y="975186"/>
            <a:ext cx="4172325" cy="5260014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0B7FC-8DD1-423E-8EF4-94D7897E47A9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04916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C18DA-410A-4124-BB0F-DE8CA676B1E5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068378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975600"/>
            <a:ext cx="9608400" cy="1112400"/>
          </a:xfrm>
        </p:spPr>
        <p:txBody>
          <a:bodyPr>
            <a:noAutofit/>
          </a:bodyPr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1" y="2162175"/>
            <a:ext cx="47160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66000" y="2845950"/>
            <a:ext cx="4716000" cy="3391337"/>
          </a:xfrm>
        </p:spPr>
        <p:txBody>
          <a:bodyPr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5551200" y="2162175"/>
            <a:ext cx="47232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5551200" y="2847600"/>
            <a:ext cx="4716000" cy="3391200"/>
          </a:xfrm>
        </p:spPr>
        <p:txBody>
          <a:bodyPr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0B7FC-8DD1-423E-8EF4-94D7897E47A9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016446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0B7FC-8DD1-423E-8EF4-94D7897E47A9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487544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0B7FC-8DD1-423E-8EF4-94D7897E47A9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024272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smtClean="0"/>
              <a:t>Klicka här för att ändra format på underrubrik i bakgrunden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42D259-ACB8-4FD1-AC0F-9CAC8F5E07E0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05-0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C9B0E5-37D7-412E-A162-6A236BADC197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43142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42D259-ACB8-4FD1-AC0F-9CAC8F5E07E0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05-0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C9B0E5-37D7-412E-A162-6A236BADC197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89523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42D259-ACB8-4FD1-AC0F-9CAC8F5E07E0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05-0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C9B0E5-37D7-412E-A162-6A236BADC197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110759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42D259-ACB8-4FD1-AC0F-9CAC8F5E07E0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05-0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C9B0E5-37D7-412E-A162-6A236BADC197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26833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42D259-ACB8-4FD1-AC0F-9CAC8F5E07E0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05-0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C9B0E5-37D7-412E-A162-6A236BADC197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88649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42D259-ACB8-4FD1-AC0F-9CAC8F5E07E0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05-0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C9B0E5-37D7-412E-A162-6A236BADC197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610911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42D259-ACB8-4FD1-AC0F-9CAC8F5E07E0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05-0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C9B0E5-37D7-412E-A162-6A236BADC197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27525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0" y="4810125"/>
            <a:ext cx="9608400" cy="14271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65C18DA-410A-4124-BB0F-DE8CA676B1E5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691530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42D259-ACB8-4FD1-AC0F-9CAC8F5E07E0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05-0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C9B0E5-37D7-412E-A162-6A236BADC197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017679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42D259-ACB8-4FD1-AC0F-9CAC8F5E07E0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05-0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C9B0E5-37D7-412E-A162-6A236BADC197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155910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42D259-ACB8-4FD1-AC0F-9CAC8F5E07E0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05-0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C9B0E5-37D7-412E-A162-6A236BADC197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97770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42D259-ACB8-4FD1-AC0F-9CAC8F5E07E0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05-0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C9B0E5-37D7-412E-A162-6A236BADC197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082938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-1499"/>
            <a:ext cx="12192599" cy="6859498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3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50"/>
            <a:ext cx="9608400" cy="1310850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42D259-ACB8-4FD1-AC0F-9CAC8F5E07E0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05-02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C9B0E5-37D7-412E-A162-6A236BADC197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266068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think-cell Slide" r:id="rId5" imgW="395" imgH="392" progId="TCLayout.ActiveDocument.1">
                  <p:embed/>
                </p:oleObj>
              </mc:Choice>
              <mc:Fallback>
                <p:oleObj name="think-cell Slide" r:id="rId5" imgW="395" imgH="392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4234" y="447223"/>
            <a:ext cx="9609825" cy="1231392"/>
          </a:xfrm>
        </p:spPr>
        <p:txBody>
          <a:bodyPr/>
          <a:lstStyle>
            <a:lvl1pPr>
              <a:defRPr sz="2800"/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64233" y="2067824"/>
            <a:ext cx="9609825" cy="373859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8C8D18-893F-4C2E-94E9-0ACD1E274A63}" type="datetime1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05-02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LIMINÄRT ARBETSMATERIAL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C9B0E5-37D7-412E-A162-6A236BADC197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64232" y="5886155"/>
            <a:ext cx="8096981" cy="500062"/>
          </a:xfrm>
        </p:spPr>
        <p:txBody>
          <a:bodyPr anchor="b" anchorCtr="0"/>
          <a:lstStyle>
            <a:lvl1pPr marL="615950" indent="-615950" defTabSz="627063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v-SE" sz="1000" dirty="0">
                <a:ea typeface="Verdana" pitchFamily="34" charset="0"/>
                <a:cs typeface="Verdana" pitchFamily="34" charset="0"/>
              </a:rPr>
              <a:t>	Not:	</a:t>
            </a:r>
            <a:r>
              <a:rPr lang="sv-SE" sz="1000" dirty="0" err="1">
                <a:ea typeface="Verdana" pitchFamily="34" charset="0"/>
                <a:cs typeface="Verdana" pitchFamily="34" charset="0"/>
              </a:rPr>
              <a:t>xxxxxx</a:t>
            </a:r>
            <a:endParaRPr lang="sv-SE" sz="1000" dirty="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v-SE" sz="100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sv-SE" sz="100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0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4579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4716000" cy="3740400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5552325" y="2494800"/>
            <a:ext cx="4716000" cy="3740400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C18DA-410A-4124-BB0F-DE8CA676B1E5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352397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törre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4234" y="874602"/>
            <a:ext cx="5326992" cy="122851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5325226" cy="3740400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095999" y="874602"/>
            <a:ext cx="4172325" cy="5360598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C18DA-410A-4124-BB0F-DE8CA676B1E5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84998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875015"/>
            <a:ext cx="9608400" cy="1228105"/>
          </a:xfrm>
        </p:spPr>
        <p:txBody>
          <a:bodyPr>
            <a:noAutofit/>
          </a:bodyPr>
          <a:lstStyle/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1" y="2162175"/>
            <a:ext cx="47160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66000" y="2845950"/>
            <a:ext cx="4716000" cy="3391337"/>
          </a:xfrm>
        </p:spPr>
        <p:txBody>
          <a:bodyPr>
            <a:noAutofit/>
          </a:bodyPr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5551200" y="2162175"/>
            <a:ext cx="47232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5551200" y="2847600"/>
            <a:ext cx="4716000" cy="3391200"/>
          </a:xfrm>
        </p:spPr>
        <p:txBody>
          <a:bodyPr>
            <a:noAutofit/>
          </a:bodyPr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C18DA-410A-4124-BB0F-DE8CA676B1E5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59653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C18DA-410A-4124-BB0F-DE8CA676B1E5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78970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C18DA-410A-4124-BB0F-DE8CA676B1E5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115947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.emf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2E2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64233" y="874602"/>
            <a:ext cx="9609825" cy="123139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4232" y="2495203"/>
            <a:ext cx="9609825" cy="37385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765C18DA-410A-4124-BB0F-DE8CA676B1E5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pic>
        <p:nvPicPr>
          <p:cNvPr id="10" name="Bildobjekt 9"/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148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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64233" y="874602"/>
            <a:ext cx="9609825" cy="123139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4232" y="2495203"/>
            <a:ext cx="9609825" cy="37385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4B42D259-ACB8-4FD1-AC0F-9CAC8F5E07E0}" type="datetimeFigureOut">
              <a:rPr lang="sv-SE" smtClean="0"/>
              <a:t>2019-05-02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  <p:pic>
        <p:nvPicPr>
          <p:cNvPr id="10" name="Bildobjekt 9"/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07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</p:sldLayoutIdLst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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2E2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64233" y="874602"/>
            <a:ext cx="9609825" cy="123139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4232" y="2495203"/>
            <a:ext cx="9609825" cy="37385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4B42D259-ACB8-4FD1-AC0F-9CAC8F5E07E0}" type="datetimeFigureOut">
              <a:rPr lang="sv-SE" smtClean="0"/>
              <a:pPr/>
              <a:t>2019-05-02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10" name="Bildobjekt 9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646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95" r:id="rId4"/>
  </p:sldLayoutIdLst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4400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"/>
        <a:defRPr sz="1800" kern="1200">
          <a:solidFill>
            <a:srgbClr val="FFFFFF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rgbClr val="FFFFFF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8D81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64233" y="975186"/>
            <a:ext cx="9609825" cy="111240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4232" y="2495203"/>
            <a:ext cx="9609825" cy="37385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D230B7FC-8DD1-423E-8EF4-94D7897E47A9}" type="datetimeFigureOut">
              <a:rPr lang="sv-SE" smtClean="0"/>
              <a:pPr/>
              <a:t>2019-05-02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2A89D212-3966-4D00-A59B-EFC19ACC4594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10" name="Bildobjekt 9"/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014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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B34C38-98ED-487E-A2A9-24CF0D6C326C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05-0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29E352-6CF9-4811-89E5-F5E4A8357B20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2985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7.png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6" Type="http://schemas.openxmlformats.org/officeDocument/2006/relationships/image" Target="../media/image8.png"/><Relationship Id="rId5" Type="http://schemas.openxmlformats.org/officeDocument/2006/relationships/hyperlink" Target="https://www.uppdragpsykiskhalsa.se/kunskapsutbyte/arbetsgang-for-arbetsgruppen/" TargetMode="Externa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7.png"/><Relationship Id="rId2" Type="http://schemas.openxmlformats.org/officeDocument/2006/relationships/audio" Target="../media/media3.m4a"/><Relationship Id="rId1" Type="http://schemas.microsoft.com/office/2007/relationships/media" Target="../media/media3.m4a"/><Relationship Id="rId6" Type="http://schemas.openxmlformats.org/officeDocument/2006/relationships/hyperlink" Target="https://www.uppdragpsykiskhalsa.se/kunskapsutbyte/" TargetMode="External"/><Relationship Id="rId5" Type="http://schemas.openxmlformats.org/officeDocument/2006/relationships/image" Target="../media/image9.pn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microsoft.com/office/2007/relationships/media" Target="../media/media4.m4a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4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45.xml"/><Relationship Id="rId10" Type="http://schemas.openxmlformats.org/officeDocument/2006/relationships/image" Target="../media/image10.png"/><Relationship Id="rId4" Type="http://schemas.openxmlformats.org/officeDocument/2006/relationships/audio" Target="../media/media4.m4a"/><Relationship Id="rId9" Type="http://schemas.openxmlformats.org/officeDocument/2006/relationships/hyperlink" Target="https://www.vardochinsats.se/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microsoft.com/office/2007/relationships/media" Target="../media/media5.m4a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45.xml"/><Relationship Id="rId10" Type="http://schemas.openxmlformats.org/officeDocument/2006/relationships/image" Target="../media/image7.png"/><Relationship Id="rId4" Type="http://schemas.openxmlformats.org/officeDocument/2006/relationships/audio" Target="../media/media5.m4a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google.com/forms/d/e/1FAIpQLScHNElDF96RTIlcz-a8S4r3PADTAAK0UKydVTLYszPWZu_uwA/viewform?usp=sf_link" TargetMode="External"/><Relationship Id="rId3" Type="http://schemas.openxmlformats.org/officeDocument/2006/relationships/slideLayout" Target="../slideLayouts/slideLayout13.xml"/><Relationship Id="rId7" Type="http://schemas.openxmlformats.org/officeDocument/2006/relationships/hyperlink" Target="https://docs.google.com/forms/d/e/1FAIpQLSfEDZkzqA-sFHcyxQR90hwmhWDA1FXUMFK-CDezIuYi8QKmlQ/viewform?usp=sf_link" TargetMode="External"/><Relationship Id="rId2" Type="http://schemas.openxmlformats.org/officeDocument/2006/relationships/audio" Target="../media/media6.m4a"/><Relationship Id="rId1" Type="http://schemas.microsoft.com/office/2007/relationships/media" Target="../media/media6.m4a"/><Relationship Id="rId6" Type="http://schemas.openxmlformats.org/officeDocument/2006/relationships/hyperlink" Target="https://www.vardochinsats.se/" TargetMode="External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google.com/forms/d/e/1FAIpQLScHNElDF96RTIlcz-a8S4r3PADTAAK0UKydVTLYszPWZu_uwA/viewform?usp=sf_link" TargetMode="External"/><Relationship Id="rId3" Type="http://schemas.openxmlformats.org/officeDocument/2006/relationships/slideLayout" Target="../slideLayouts/slideLayout13.xml"/><Relationship Id="rId7" Type="http://schemas.openxmlformats.org/officeDocument/2006/relationships/hyperlink" Target="https://docs.google.com/forms/d/e/1FAIpQLSfEDZkzqA-sFHcyxQR90hwmhWDA1FXUMFK-CDezIuYi8QKmlQ/viewform?usp=sf_link" TargetMode="External"/><Relationship Id="rId2" Type="http://schemas.openxmlformats.org/officeDocument/2006/relationships/audio" Target="../media/media7.m4a"/><Relationship Id="rId1" Type="http://schemas.microsoft.com/office/2007/relationships/media" Target="../media/media7.m4a"/><Relationship Id="rId6" Type="http://schemas.openxmlformats.org/officeDocument/2006/relationships/hyperlink" Target="https://www.vardochinsats.se/" TargetMode="External"/><Relationship Id="rId5" Type="http://schemas.openxmlformats.org/officeDocument/2006/relationships/hyperlink" Target="https://www.vardochinsats.se/test-av-anvaendbarhet/" TargetMode="External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7.png"/><Relationship Id="rId2" Type="http://schemas.openxmlformats.org/officeDocument/2006/relationships/audio" Target="../media/media8.m4a"/><Relationship Id="rId1" Type="http://schemas.microsoft.com/office/2007/relationships/media" Target="../media/media8.m4a"/><Relationship Id="rId6" Type="http://schemas.openxmlformats.org/officeDocument/2006/relationships/image" Target="../media/image8.png"/><Relationship Id="rId5" Type="http://schemas.openxmlformats.org/officeDocument/2006/relationships/hyperlink" Target="https://www.vardochinsats.se/media/1056/anvaendarguide-190326.pptx" TargetMode="External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audio" Target="../media/media9.m4a"/><Relationship Id="rId1" Type="http://schemas.microsoft.com/office/2007/relationships/media" Target="../media/media9.m4a"/><Relationship Id="rId6" Type="http://schemas.openxmlformats.org/officeDocument/2006/relationships/image" Target="../media/image7.png"/><Relationship Id="rId5" Type="http://schemas.openxmlformats.org/officeDocument/2006/relationships/image" Target="../media/image12.png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937113" y="515224"/>
            <a:ext cx="10162296" cy="1644997"/>
          </a:xfrm>
        </p:spPr>
        <p:txBody>
          <a:bodyPr/>
          <a:lstStyle/>
          <a:p>
            <a:pPr algn="l"/>
            <a:r>
              <a:rPr lang="sv-SE" sz="8000" dirty="0" smtClean="0">
                <a:solidFill>
                  <a:srgbClr val="F29200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Test av användbarhet</a:t>
            </a:r>
            <a:endParaRPr lang="sv-SE" sz="7200" dirty="0">
              <a:solidFill>
                <a:srgbClr val="F29200"/>
              </a:solidFill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ktangel 5"/>
          <p:cNvSpPr/>
          <p:nvPr/>
        </p:nvSpPr>
        <p:spPr>
          <a:xfrm>
            <a:off x="961177" y="1575446"/>
            <a:ext cx="620678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3200" dirty="0">
                <a:solidFill>
                  <a:srgbClr val="01677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</a:t>
            </a:r>
            <a:r>
              <a:rPr lang="sv-SE" sz="3200" dirty="0" smtClean="0">
                <a:solidFill>
                  <a:srgbClr val="01677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tionella vård- och </a:t>
            </a:r>
            <a:r>
              <a:rPr lang="sv-SE" sz="3200" dirty="0">
                <a:solidFill>
                  <a:srgbClr val="01677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satsprogram </a:t>
            </a:r>
            <a:r>
              <a:rPr lang="sv-SE" sz="3200" dirty="0" smtClean="0">
                <a:solidFill>
                  <a:srgbClr val="01677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VIP) inom </a:t>
            </a:r>
            <a:r>
              <a:rPr lang="sv-SE" sz="3200" dirty="0">
                <a:solidFill>
                  <a:srgbClr val="01677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sykisk </a:t>
            </a:r>
            <a:r>
              <a:rPr lang="sv-SE" sz="3200" dirty="0" smtClean="0">
                <a:solidFill>
                  <a:srgbClr val="01677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älsa</a:t>
            </a:r>
            <a:endParaRPr lang="sv-SE" sz="3200" dirty="0">
              <a:solidFill>
                <a:srgbClr val="01677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textruta 4"/>
          <p:cNvSpPr txBox="1"/>
          <p:nvPr/>
        </p:nvSpPr>
        <p:spPr>
          <a:xfrm>
            <a:off x="1061268" y="5750134"/>
            <a:ext cx="26769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ril 2019</a:t>
            </a:r>
            <a:endParaRPr lang="en-US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Ljud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366500" y="603250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59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517"/>
    </mc:Choice>
    <mc:Fallback xmlns="">
      <p:transition spd="slow" advTm="1051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27000">
                <a:schemeClr val="bg1"/>
              </a:gs>
              <a:gs pos="0">
                <a:srgbClr val="A4CAD4"/>
              </a:gs>
            </a:gsLst>
            <a:lin ang="15000000" scaled="0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57726" y="1019376"/>
            <a:ext cx="10515600" cy="1090696"/>
          </a:xfrm>
        </p:spPr>
        <p:txBody>
          <a:bodyPr>
            <a:noAutofit/>
          </a:bodyPr>
          <a:lstStyle/>
          <a:p>
            <a:r>
              <a:rPr lang="sv-SE" b="1" dirty="0">
                <a:solidFill>
                  <a:srgbClr val="016773"/>
                </a:solidFill>
                <a:latin typeface="+mn-lt"/>
              </a:rPr>
              <a:t>Nationella vård- och insatsprogram (VIP) inom psykisk </a:t>
            </a:r>
            <a:r>
              <a:rPr lang="sv-SE" b="1" dirty="0" smtClean="0">
                <a:solidFill>
                  <a:srgbClr val="016773"/>
                </a:solidFill>
                <a:latin typeface="+mn-lt"/>
              </a:rPr>
              <a:t>hälsa</a:t>
            </a:r>
            <a:endParaRPr lang="sv-SE" b="1" dirty="0">
              <a:solidFill>
                <a:srgbClr val="016773"/>
              </a:solidFill>
              <a:latin typeface="+mn-lt"/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57725" y="2742594"/>
            <a:ext cx="6874451" cy="3239147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sv-SE" sz="2400" dirty="0" smtClean="0"/>
              <a:t>Innehåller </a:t>
            </a:r>
            <a:r>
              <a:rPr lang="sv-SE" sz="2400" dirty="0"/>
              <a:t>den samlade kunskapen om insatser enligt evidens och beprövad erfarenhe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v-SE" sz="2400" dirty="0"/>
              <a:t>Anpassade för personal, med fokus på hur en insats utför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v-SE" sz="2400" dirty="0"/>
              <a:t>Omfattar både kommunernas och landstingens verksamheter, underlättar samordnin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v-SE" sz="2400" dirty="0"/>
              <a:t>Mer information: </a:t>
            </a:r>
            <a:r>
              <a:rPr lang="sv-SE" sz="2400" dirty="0" smtClean="0">
                <a:hlinkClick r:id="rId5"/>
              </a:rPr>
              <a:t>uppdragpsykiskhälsa.se</a:t>
            </a:r>
            <a:endParaRPr lang="sv-SE" sz="2400" dirty="0"/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2531" y="3129447"/>
            <a:ext cx="3025082" cy="2465442"/>
          </a:xfrm>
          <a:prstGeom prst="rect">
            <a:avLst/>
          </a:prstGeom>
        </p:spPr>
      </p:pic>
      <p:pic>
        <p:nvPicPr>
          <p:cNvPr id="6" name="Ljud 5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366500" y="603250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490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334"/>
    </mc:Choice>
    <mc:Fallback xmlns="">
      <p:transition spd="slow" advTm="3033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8635" y="3006671"/>
            <a:ext cx="5513366" cy="3870556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57726" y="729336"/>
            <a:ext cx="10515600" cy="1090696"/>
          </a:xfrm>
        </p:spPr>
        <p:txBody>
          <a:bodyPr>
            <a:normAutofit/>
          </a:bodyPr>
          <a:lstStyle/>
          <a:p>
            <a:r>
              <a:rPr lang="sv-SE" b="1" dirty="0">
                <a:solidFill>
                  <a:srgbClr val="016773"/>
                </a:solidFill>
                <a:latin typeface="+mn-lt"/>
              </a:rPr>
              <a:t>Struktur för </a:t>
            </a:r>
            <a:r>
              <a:rPr lang="sv-SE" b="1" dirty="0" smtClean="0">
                <a:solidFill>
                  <a:srgbClr val="016773"/>
                </a:solidFill>
                <a:latin typeface="+mn-lt"/>
              </a:rPr>
              <a:t>kunskapsutbyte</a:t>
            </a:r>
            <a:endParaRPr lang="sv-SE" b="1" dirty="0">
              <a:solidFill>
                <a:srgbClr val="016773"/>
              </a:solidFill>
              <a:latin typeface="+mn-lt"/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57725" y="1910519"/>
            <a:ext cx="8757495" cy="4351338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sv-SE" dirty="0" smtClean="0">
                <a:cs typeface="Arial" panose="020B0604020202020204" pitchFamily="34" charset="0"/>
              </a:rPr>
              <a:t>Vård- </a:t>
            </a:r>
            <a:r>
              <a:rPr lang="sv-SE" dirty="0">
                <a:cs typeface="Arial" panose="020B0604020202020204" pitchFamily="34" charset="0"/>
              </a:rPr>
              <a:t>och insatsprogram (VIP) tas fram inom en struktur för kunskapsutbyte som är gemensam för regionerna och kommunerna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v-SE" dirty="0">
                <a:cs typeface="Arial" panose="020B0604020202020204" pitchFamily="34" charset="0"/>
              </a:rPr>
              <a:t>Målen </a:t>
            </a:r>
            <a:r>
              <a:rPr lang="sv-SE" dirty="0" smtClean="0">
                <a:cs typeface="Arial" panose="020B0604020202020204" pitchFamily="34" charset="0"/>
              </a:rPr>
              <a:t>är: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sv-SE" sz="2000" dirty="0" smtClean="0">
                <a:cs typeface="Arial" panose="020B0604020202020204" pitchFamily="34" charset="0"/>
              </a:rPr>
              <a:t>mer </a:t>
            </a:r>
            <a:r>
              <a:rPr lang="sv-SE" sz="2000" dirty="0">
                <a:cs typeface="Arial" panose="020B0604020202020204" pitchFamily="34" charset="0"/>
              </a:rPr>
              <a:t>jämlik </a:t>
            </a:r>
            <a:r>
              <a:rPr lang="sv-SE" sz="2000" dirty="0" smtClean="0">
                <a:cs typeface="Arial" panose="020B0604020202020204" pitchFamily="34" charset="0"/>
              </a:rPr>
              <a:t>vård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sv-SE" sz="2000" dirty="0" smtClean="0">
                <a:cs typeface="Arial" panose="020B0604020202020204" pitchFamily="34" charset="0"/>
              </a:rPr>
              <a:t>ökad vårdkvalite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sv-SE" sz="2000" dirty="0" smtClean="0">
                <a:cs typeface="Arial" panose="020B0604020202020204" pitchFamily="34" charset="0"/>
              </a:rPr>
              <a:t>förbättrade vårdresulta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sv-SE" sz="2000" dirty="0" smtClean="0">
                <a:cs typeface="Arial" panose="020B0604020202020204" pitchFamily="34" charset="0"/>
              </a:rPr>
              <a:t>ett </a:t>
            </a:r>
            <a:r>
              <a:rPr lang="sv-SE" sz="2000" dirty="0">
                <a:cs typeface="Arial" panose="020B0604020202020204" pitchFamily="34" charset="0"/>
              </a:rPr>
              <a:t>mer effektivt utnyttjande av samhällets </a:t>
            </a:r>
            <a:r>
              <a:rPr lang="sv-SE" sz="2000" dirty="0" smtClean="0">
                <a:cs typeface="Arial" panose="020B0604020202020204" pitchFamily="34" charset="0"/>
              </a:rPr>
              <a:t>resurser</a:t>
            </a:r>
            <a:br>
              <a:rPr lang="sv-SE" sz="2000" dirty="0" smtClean="0">
                <a:cs typeface="Arial" panose="020B0604020202020204" pitchFamily="34" charset="0"/>
              </a:rPr>
            </a:br>
            <a:r>
              <a:rPr lang="sv-SE" sz="2000" dirty="0" smtClean="0">
                <a:cs typeface="Arial" panose="020B0604020202020204" pitchFamily="34" charset="0"/>
              </a:rPr>
              <a:t>inom </a:t>
            </a:r>
            <a:r>
              <a:rPr lang="sv-SE" sz="2000" dirty="0">
                <a:cs typeface="Arial" panose="020B0604020202020204" pitchFamily="34" charset="0"/>
              </a:rPr>
              <a:t>området psykisk hälsa och ohälsa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v-SE" dirty="0">
                <a:cs typeface="Arial" panose="020B0604020202020204" pitchFamily="34" charset="0"/>
              </a:rPr>
              <a:t>Mer information: </a:t>
            </a:r>
            <a:r>
              <a:rPr lang="sv-SE" dirty="0" smtClean="0">
                <a:cs typeface="Arial" panose="020B0604020202020204" pitchFamily="34" charset="0"/>
                <a:hlinkClick r:id="rId6"/>
              </a:rPr>
              <a:t>uppdragpsykiskhälsa.se</a:t>
            </a:r>
            <a:endParaRPr lang="sv-SE" dirty="0">
              <a:cs typeface="Arial" panose="020B0604020202020204" pitchFamily="34" charset="0"/>
            </a:endParaRPr>
          </a:p>
        </p:txBody>
      </p:sp>
      <p:pic>
        <p:nvPicPr>
          <p:cNvPr id="4" name="Ljud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366500" y="603250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302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8504"/>
    </mc:Choice>
    <mc:Fallback xmlns="">
      <p:transition spd="slow" advTm="1850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" name="think-cell Slide" r:id="rId7" imgW="395" imgH="392" progId="TCLayout.ActiveDocument.1">
                  <p:embed/>
                </p:oleObj>
              </mc:Choice>
              <mc:Fallback>
                <p:oleObj name="think-cell Slide" r:id="rId7" imgW="395" imgH="392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>
                <a:solidFill>
                  <a:prstClr val="black"/>
                </a:solidFill>
              </a:rPr>
              <a:pPr/>
              <a:t>4</a:t>
            </a:fld>
            <a:endParaRPr lang="sv-SE" dirty="0">
              <a:solidFill>
                <a:prstClr val="black"/>
              </a:solidFill>
            </a:endParaRPr>
          </a:p>
        </p:txBody>
      </p:sp>
      <p:sp>
        <p:nvSpPr>
          <p:cNvPr id="9" name="Rektangel 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27000">
                <a:schemeClr val="bg1"/>
              </a:gs>
              <a:gs pos="0">
                <a:srgbClr val="A4CAD4"/>
              </a:gs>
            </a:gsLst>
            <a:lin ang="15000000" scaled="0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Platshållare för innehåll 2"/>
          <p:cNvSpPr txBox="1">
            <a:spLocks/>
          </p:cNvSpPr>
          <p:nvPr/>
        </p:nvSpPr>
        <p:spPr>
          <a:xfrm>
            <a:off x="657725" y="2148294"/>
            <a:ext cx="8053138" cy="3423347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sv-SE" sz="2400" dirty="0" smtClean="0">
                <a:cs typeface="Arial" panose="020B0604020202020204" pitchFamily="34" charset="0"/>
              </a:rPr>
              <a:t>VIP </a:t>
            </a:r>
            <a:r>
              <a:rPr lang="sv-SE" sz="2400" dirty="0">
                <a:cs typeface="Arial" panose="020B0604020202020204" pitchFamily="34" charset="0"/>
              </a:rPr>
              <a:t>finns tillgängliga på webbplatsen </a:t>
            </a:r>
            <a:r>
              <a:rPr lang="sv-SE" sz="2400" dirty="0" smtClean="0">
                <a:cs typeface="Arial" panose="020B0604020202020204" pitchFamily="34" charset="0"/>
                <a:hlinkClick r:id="rId9"/>
              </a:rPr>
              <a:t>vårdochinsats.se</a:t>
            </a:r>
            <a:endParaRPr lang="sv-SE" sz="2400" dirty="0"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sv-SE" sz="2400" dirty="0" smtClean="0">
                <a:cs typeface="Arial" panose="020B0604020202020204" pitchFamily="34" charset="0"/>
              </a:rPr>
              <a:t>Varje VIP har en officiell testperiod som ett led i utvecklingsarbete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v-SE" sz="2400" dirty="0" smtClean="0">
                <a:cs typeface="Arial" panose="020B0604020202020204" pitchFamily="34" charset="0"/>
              </a:rPr>
              <a:t>Gör gärna användbarhetstestet under den officiella testperioden för utkastversionen av VIP – men det går också bra att lämna synpunkter på den färdiga versionen</a:t>
            </a:r>
            <a:endParaRPr lang="sv-SE" sz="2400" dirty="0"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sv-SE" sz="2400" dirty="0" smtClean="0">
                <a:cs typeface="Arial" panose="020B0604020202020204" pitchFamily="34" charset="0"/>
              </a:rPr>
              <a:t>Alla </a:t>
            </a:r>
            <a:r>
              <a:rPr lang="sv-SE" sz="2400" dirty="0">
                <a:cs typeface="Arial" panose="020B0604020202020204" pitchFamily="34" charset="0"/>
              </a:rPr>
              <a:t>verksamheter och professioner kan bidra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v-SE" sz="2400" dirty="0">
                <a:cs typeface="Arial" panose="020B0604020202020204" pitchFamily="34" charset="0"/>
              </a:rPr>
              <a:t>Välj mellan att testa VIP i mötet med en verklig patient/brukare, eller att utgå från ett fiktivt </a:t>
            </a:r>
            <a:r>
              <a:rPr lang="sv-SE" sz="2400" dirty="0" smtClean="0">
                <a:cs typeface="Arial" panose="020B0604020202020204" pitchFamily="34" charset="0"/>
              </a:rPr>
              <a:t>fall</a:t>
            </a:r>
            <a:endParaRPr lang="sv-SE" sz="2600" b="1" dirty="0">
              <a:cs typeface="Arial" panose="020B0604020202020204" pitchFamily="34" charset="0"/>
            </a:endParaRPr>
          </a:p>
        </p:txBody>
      </p:sp>
      <p:sp>
        <p:nvSpPr>
          <p:cNvPr id="11" name="Rubrik 1"/>
          <p:cNvSpPr txBox="1">
            <a:spLocks/>
          </p:cNvSpPr>
          <p:nvPr/>
        </p:nvSpPr>
        <p:spPr>
          <a:xfrm>
            <a:off x="657726" y="1039303"/>
            <a:ext cx="10515600" cy="10906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v-SE" sz="4400" b="1" dirty="0">
                <a:solidFill>
                  <a:srgbClr val="016773"/>
                </a:solidFill>
                <a:latin typeface="+mn-lt"/>
              </a:rPr>
              <a:t>Om </a:t>
            </a:r>
            <a:r>
              <a:rPr lang="sv-SE" sz="4400" b="1" dirty="0" smtClean="0">
                <a:solidFill>
                  <a:srgbClr val="016773"/>
                </a:solidFill>
                <a:latin typeface="+mn-lt"/>
              </a:rPr>
              <a:t>användbarhetstest </a:t>
            </a:r>
            <a:r>
              <a:rPr lang="sv-SE" sz="4400" b="1" dirty="0">
                <a:solidFill>
                  <a:srgbClr val="016773"/>
                </a:solidFill>
                <a:latin typeface="+mn-lt"/>
              </a:rPr>
              <a:t>av </a:t>
            </a:r>
            <a:r>
              <a:rPr lang="sv-SE" sz="4400" b="1" dirty="0" smtClean="0">
                <a:solidFill>
                  <a:srgbClr val="016773"/>
                </a:solidFill>
                <a:latin typeface="+mn-lt"/>
              </a:rPr>
              <a:t>VIP</a:t>
            </a:r>
            <a:endParaRPr lang="sv-SE" sz="4400" b="1" dirty="0">
              <a:solidFill>
                <a:srgbClr val="016773"/>
              </a:solidFill>
              <a:latin typeface="+mn-lt"/>
            </a:endParaRPr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5517" y="-264100"/>
            <a:ext cx="3058044" cy="7339308"/>
          </a:xfrm>
          <a:prstGeom prst="rect">
            <a:avLst/>
          </a:prstGeom>
        </p:spPr>
      </p:pic>
      <p:pic>
        <p:nvPicPr>
          <p:cNvPr id="6" name="Ljud 5">
            <a:hlinkClick r:id="" action="ppaction://media"/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11366500" y="603250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554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3674"/>
    </mc:Choice>
    <mc:Fallback xmlns="">
      <p:transition spd="slow" advTm="7367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7" imgW="395" imgH="392" progId="TCLayout.ActiveDocument.1">
                  <p:embed/>
                </p:oleObj>
              </mc:Choice>
              <mc:Fallback>
                <p:oleObj name="think-cell Slide" r:id="rId7" imgW="395" imgH="392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>
                <a:solidFill>
                  <a:prstClr val="black"/>
                </a:solidFill>
              </a:rPr>
              <a:pPr/>
              <a:t>5</a:t>
            </a:fld>
            <a:endParaRPr lang="sv-SE" dirty="0">
              <a:solidFill>
                <a:prstClr val="black"/>
              </a:solidFill>
            </a:endParaRPr>
          </a:p>
        </p:txBody>
      </p:sp>
      <p:sp>
        <p:nvSpPr>
          <p:cNvPr id="9" name="Rektangel 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27000">
                <a:schemeClr val="bg1"/>
              </a:gs>
              <a:gs pos="0">
                <a:srgbClr val="A4CAD4"/>
              </a:gs>
            </a:gsLst>
            <a:lin ang="15000000" scaled="0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Platshållare för innehåll 2"/>
          <p:cNvSpPr txBox="1">
            <a:spLocks/>
          </p:cNvSpPr>
          <p:nvPr/>
        </p:nvSpPr>
        <p:spPr>
          <a:xfrm>
            <a:off x="657725" y="2148294"/>
            <a:ext cx="8053138" cy="342334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sv-SE" sz="2200" b="1" dirty="0">
                <a:cs typeface="Arial" panose="020B0604020202020204" pitchFamily="34" charset="0"/>
              </a:rPr>
              <a:t>Självskadebeteende</a:t>
            </a:r>
            <a:r>
              <a:rPr lang="sv-SE" sz="2200" dirty="0">
                <a:cs typeface="Arial" panose="020B0604020202020204" pitchFamily="34" charset="0"/>
              </a:rPr>
              <a:t/>
            </a:r>
            <a:br>
              <a:rPr lang="sv-SE" sz="2200" dirty="0">
                <a:cs typeface="Arial" panose="020B0604020202020204" pitchFamily="34" charset="0"/>
              </a:rPr>
            </a:br>
            <a:r>
              <a:rPr lang="sv-SE" sz="2200" dirty="0">
                <a:cs typeface="Arial" panose="020B0604020202020204" pitchFamily="34" charset="0"/>
              </a:rPr>
              <a:t>20 april till 20 maj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v-SE" sz="2200" b="1" dirty="0" smtClean="0">
                <a:cs typeface="Arial" panose="020B0604020202020204" pitchFamily="34" charset="0"/>
              </a:rPr>
              <a:t>Ångest </a:t>
            </a:r>
            <a:r>
              <a:rPr lang="sv-SE" sz="2200" b="1" dirty="0">
                <a:cs typeface="Arial" panose="020B0604020202020204" pitchFamily="34" charset="0"/>
              </a:rPr>
              <a:t>och depression</a:t>
            </a:r>
            <a:r>
              <a:rPr lang="sv-SE" sz="2200" dirty="0">
                <a:cs typeface="Arial" panose="020B0604020202020204" pitchFamily="34" charset="0"/>
              </a:rPr>
              <a:t/>
            </a:r>
            <a:br>
              <a:rPr lang="sv-SE" sz="2200" dirty="0">
                <a:cs typeface="Arial" panose="020B0604020202020204" pitchFamily="34" charset="0"/>
              </a:rPr>
            </a:br>
            <a:r>
              <a:rPr lang="sv-SE" sz="2200" dirty="0" smtClean="0">
                <a:cs typeface="Arial" panose="020B0604020202020204" pitchFamily="34" charset="0"/>
              </a:rPr>
              <a:t>15 </a:t>
            </a:r>
            <a:r>
              <a:rPr lang="sv-SE" sz="2200" smtClean="0">
                <a:cs typeface="Arial" panose="020B0604020202020204" pitchFamily="34" charset="0"/>
              </a:rPr>
              <a:t>maj till 15 juni</a:t>
            </a:r>
            <a:endParaRPr lang="sv-SE" sz="2200" dirty="0"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sv-SE" sz="2200" b="1" dirty="0">
                <a:cs typeface="Arial" panose="020B0604020202020204" pitchFamily="34" charset="0"/>
              </a:rPr>
              <a:t>Missbruk och beroende</a:t>
            </a:r>
            <a:r>
              <a:rPr lang="sv-SE" sz="2200" dirty="0">
                <a:cs typeface="Arial" panose="020B0604020202020204" pitchFamily="34" charset="0"/>
              </a:rPr>
              <a:t/>
            </a:r>
            <a:br>
              <a:rPr lang="sv-SE" sz="2200" dirty="0">
                <a:cs typeface="Arial" panose="020B0604020202020204" pitchFamily="34" charset="0"/>
              </a:rPr>
            </a:br>
            <a:r>
              <a:rPr lang="sv-SE" sz="2200" dirty="0">
                <a:cs typeface="Arial" panose="020B0604020202020204" pitchFamily="34" charset="0"/>
              </a:rPr>
              <a:t>1 juni till 21 augusti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v-SE" sz="2200" b="1" dirty="0" smtClean="0">
                <a:cs typeface="Arial" panose="020B0604020202020204" pitchFamily="34" charset="0"/>
              </a:rPr>
              <a:t>ADHD</a:t>
            </a:r>
            <a:r>
              <a:rPr lang="sv-SE" sz="2200" dirty="0">
                <a:cs typeface="Arial" panose="020B0604020202020204" pitchFamily="34" charset="0"/>
              </a:rPr>
              <a:t/>
            </a:r>
            <a:br>
              <a:rPr lang="sv-SE" sz="2200" dirty="0">
                <a:cs typeface="Arial" panose="020B0604020202020204" pitchFamily="34" charset="0"/>
              </a:rPr>
            </a:br>
            <a:r>
              <a:rPr lang="sv-SE" sz="2200" dirty="0">
                <a:cs typeface="Arial" panose="020B0604020202020204" pitchFamily="34" charset="0"/>
              </a:rPr>
              <a:t>1 juni till </a:t>
            </a:r>
            <a:r>
              <a:rPr lang="sv-SE" sz="2200" dirty="0" smtClean="0">
                <a:cs typeface="Arial" panose="020B0604020202020204" pitchFamily="34" charset="0"/>
              </a:rPr>
              <a:t>7 september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v-SE" sz="2200" b="1" dirty="0" smtClean="0">
                <a:cs typeface="Arial" panose="020B0604020202020204" pitchFamily="34" charset="0"/>
              </a:rPr>
              <a:t>Schizofreni </a:t>
            </a:r>
            <a:r>
              <a:rPr lang="sv-SE" sz="2200" b="1" dirty="0">
                <a:cs typeface="Arial" panose="020B0604020202020204" pitchFamily="34" charset="0"/>
              </a:rPr>
              <a:t>och schizofreniliknande tillstånd</a:t>
            </a:r>
            <a:br>
              <a:rPr lang="sv-SE" sz="2200" b="1" dirty="0">
                <a:cs typeface="Arial" panose="020B0604020202020204" pitchFamily="34" charset="0"/>
              </a:rPr>
            </a:br>
            <a:r>
              <a:rPr lang="sv-SE" sz="2200" i="1" dirty="0" smtClean="0">
                <a:cs typeface="Arial" panose="020B0604020202020204" pitchFamily="34" charset="0"/>
              </a:rPr>
              <a:t>Passerad</a:t>
            </a:r>
            <a:endParaRPr lang="sv-SE" sz="2200" i="1" dirty="0">
              <a:cs typeface="Arial" panose="020B0604020202020204" pitchFamily="34" charset="0"/>
            </a:endParaRPr>
          </a:p>
        </p:txBody>
      </p:sp>
      <p:sp>
        <p:nvSpPr>
          <p:cNvPr id="11" name="Rubrik 1"/>
          <p:cNvSpPr txBox="1">
            <a:spLocks/>
          </p:cNvSpPr>
          <p:nvPr/>
        </p:nvSpPr>
        <p:spPr>
          <a:xfrm>
            <a:off x="657726" y="1039303"/>
            <a:ext cx="10515600" cy="10906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v-SE" sz="4400" b="1" dirty="0" smtClean="0">
                <a:solidFill>
                  <a:srgbClr val="016773"/>
                </a:solidFill>
                <a:latin typeface="+mn-lt"/>
              </a:rPr>
              <a:t>Officiella testperioder under 2019</a:t>
            </a:r>
            <a:endParaRPr lang="sv-SE" sz="4400" b="1" dirty="0">
              <a:solidFill>
                <a:srgbClr val="016773"/>
              </a:solidFill>
              <a:latin typeface="+mn-lt"/>
            </a:endParaRPr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5517" y="-264100"/>
            <a:ext cx="3058044" cy="7339308"/>
          </a:xfrm>
          <a:prstGeom prst="rect">
            <a:avLst/>
          </a:prstGeom>
        </p:spPr>
      </p:pic>
      <p:pic>
        <p:nvPicPr>
          <p:cNvPr id="2" name="Ljud 1">
            <a:hlinkClick r:id="" action="ppaction://media"/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1366500" y="603250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6064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5217"/>
    </mc:Choice>
    <mc:Fallback>
      <p:transition spd="slow" advTm="2521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27000">
                <a:schemeClr val="bg1"/>
              </a:gs>
              <a:gs pos="0">
                <a:srgbClr val="A4CAD4"/>
              </a:gs>
            </a:gsLst>
            <a:lin ang="15000000" scaled="0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657726" y="775831"/>
            <a:ext cx="10515600" cy="1090696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01677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a VIP i mötet med verklig </a:t>
            </a:r>
            <a:r>
              <a:rPr lang="sv-SE" dirty="0" smtClean="0">
                <a:solidFill>
                  <a:srgbClr val="01677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tient/brukare</a:t>
            </a:r>
            <a:endParaRPr lang="sv-SE" b="1" dirty="0">
              <a:solidFill>
                <a:srgbClr val="01677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Bildobjekt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262" y="3843580"/>
            <a:ext cx="4521630" cy="3014420"/>
          </a:xfrm>
          <a:prstGeom prst="rect">
            <a:avLst/>
          </a:prstGeom>
        </p:spPr>
      </p:pic>
      <p:sp>
        <p:nvSpPr>
          <p:cNvPr id="8" name="Platshållare för innehåll 2"/>
          <p:cNvSpPr>
            <a:spLocks noGrp="1"/>
          </p:cNvSpPr>
          <p:nvPr>
            <p:ph idx="1"/>
          </p:nvPr>
        </p:nvSpPr>
        <p:spPr>
          <a:xfrm>
            <a:off x="657724" y="2539245"/>
            <a:ext cx="10026318" cy="3562702"/>
          </a:xfrm>
        </p:spPr>
        <p:txBody>
          <a:bodyPr>
            <a:normAutofit/>
          </a:bodyPr>
          <a:lstStyle/>
          <a:p>
            <a:pPr marL="487363" indent="-457200">
              <a:buFont typeface="+mj-lt"/>
              <a:buAutoNum type="arabicPeriod"/>
            </a:pPr>
            <a:r>
              <a:rPr lang="sv-SE" dirty="0" smtClean="0">
                <a:latin typeface="Calibri" panose="020F0502020204030204" pitchFamily="34" charset="0"/>
                <a:cs typeface="Calibri" panose="020F0502020204030204" pitchFamily="34" charset="0"/>
              </a:rPr>
              <a:t>Gå </a:t>
            </a: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</a:rPr>
              <a:t>till </a:t>
            </a: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  <a:hlinkClick r:id="rId6"/>
              </a:rPr>
              <a:t>vårdochinsats.se</a:t>
            </a: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</a:rPr>
              <a:t> och välj </a:t>
            </a:r>
            <a:r>
              <a:rPr lang="sv-SE" dirty="0" smtClean="0">
                <a:latin typeface="Calibri" panose="020F0502020204030204" pitchFamily="34" charset="0"/>
                <a:cs typeface="Calibri" panose="020F0502020204030204" pitchFamily="34" charset="0"/>
              </a:rPr>
              <a:t>VIP</a:t>
            </a:r>
            <a:endParaRPr lang="sv-S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87363" indent="-457200">
              <a:buFont typeface="+mj-lt"/>
              <a:buAutoNum type="arabicPeriod"/>
            </a:pP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</a:rPr>
              <a:t>Tänk på en verklig patient/brukare, prova att söka fram information som är användbar inför (eller i) mötet, notera eventuella synpunkter</a:t>
            </a:r>
          </a:p>
          <a:p>
            <a:pPr marL="487363" indent="-457200">
              <a:buFont typeface="+mj-lt"/>
              <a:buAutoNum type="arabicPeriod"/>
            </a:pP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</a:rPr>
              <a:t>Gå till </a:t>
            </a:r>
            <a:r>
              <a:rPr lang="sv-SE" dirty="0" smtClean="0">
                <a:latin typeface="Calibri" panose="020F0502020204030204" pitchFamily="34" charset="0"/>
                <a:cs typeface="Calibri" panose="020F0502020204030204" pitchFamily="34" charset="0"/>
                <a:hlinkClick r:id="rId7"/>
              </a:rPr>
              <a:t>enkäten för utkastversion</a:t>
            </a:r>
            <a:r>
              <a:rPr lang="sv-SE" dirty="0" smtClean="0">
                <a:latin typeface="Calibri" panose="020F0502020204030204" pitchFamily="34" charset="0"/>
                <a:cs typeface="Calibri" panose="020F0502020204030204" pitchFamily="34" charset="0"/>
              </a:rPr>
              <a:t> eller lämna synpunkter i </a:t>
            </a:r>
            <a:r>
              <a:rPr lang="sv-SE" dirty="0" smtClean="0">
                <a:latin typeface="Calibri" panose="020F0502020204030204" pitchFamily="34" charset="0"/>
                <a:cs typeface="Calibri" panose="020F0502020204030204" pitchFamily="34" charset="0"/>
                <a:hlinkClick r:id="rId8"/>
              </a:rPr>
              <a:t>enkäten för färdig version</a:t>
            </a:r>
            <a:r>
              <a:rPr lang="sv-SE" dirty="0" smtClean="0">
                <a:latin typeface="Calibri" panose="020F0502020204030204" pitchFamily="34" charset="0"/>
                <a:cs typeface="Calibri" panose="020F0502020204030204" pitchFamily="34" charset="0"/>
              </a:rPr>
              <a:t> beroende på vilken version som testas</a:t>
            </a:r>
            <a:endParaRPr lang="sv-SE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87363" indent="-457200">
              <a:buFont typeface="+mj-lt"/>
              <a:buAutoNum type="arabicPeriod"/>
            </a:pP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</a:rPr>
              <a:t>Upprepa gärna för fler patienter/brukare</a:t>
            </a:r>
          </a:p>
          <a:p>
            <a:pPr>
              <a:spcAft>
                <a:spcPts val="1200"/>
              </a:spcAft>
            </a:pPr>
            <a:endParaRPr lang="sv-SE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Ljud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11366500" y="603250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824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7533"/>
    </mc:Choice>
    <mc:Fallback xmlns="">
      <p:transition spd="slow" advTm="6753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27000">
                <a:schemeClr val="bg1"/>
              </a:gs>
              <a:gs pos="0">
                <a:srgbClr val="A4CAD4"/>
              </a:gs>
            </a:gsLst>
            <a:lin ang="15000000" scaled="0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657726" y="775831"/>
            <a:ext cx="10515600" cy="1090696"/>
          </a:xfrm>
        </p:spPr>
        <p:txBody>
          <a:bodyPr>
            <a:normAutofit/>
          </a:bodyPr>
          <a:lstStyle/>
          <a:p>
            <a:r>
              <a:rPr lang="sv-SE" dirty="0">
                <a:solidFill>
                  <a:srgbClr val="01677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a VIP för fiktiv </a:t>
            </a:r>
            <a:r>
              <a:rPr lang="sv-SE" dirty="0" smtClean="0">
                <a:solidFill>
                  <a:srgbClr val="01677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tient/brukare</a:t>
            </a:r>
            <a:endParaRPr lang="sv-SE" b="1" dirty="0">
              <a:solidFill>
                <a:srgbClr val="01677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Platshållare för innehåll 2"/>
          <p:cNvSpPr>
            <a:spLocks noGrp="1"/>
          </p:cNvSpPr>
          <p:nvPr>
            <p:ph idx="1"/>
          </p:nvPr>
        </p:nvSpPr>
        <p:spPr>
          <a:xfrm>
            <a:off x="657724" y="2539245"/>
            <a:ext cx="9809750" cy="3562702"/>
          </a:xfrm>
        </p:spPr>
        <p:txBody>
          <a:bodyPr>
            <a:normAutofit lnSpcReduction="10000"/>
          </a:bodyPr>
          <a:lstStyle/>
          <a:p>
            <a:pPr marL="487363" indent="-457200">
              <a:buFont typeface="+mj-lt"/>
              <a:buAutoNum type="arabicPeriod"/>
            </a:pPr>
            <a:r>
              <a:rPr lang="sv-SE" dirty="0" smtClean="0">
                <a:latin typeface="Calibri" panose="020F0502020204030204" pitchFamily="34" charset="0"/>
                <a:cs typeface="Calibri" panose="020F0502020204030204" pitchFamily="34" charset="0"/>
              </a:rPr>
              <a:t>Välj </a:t>
            </a: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</a:rPr>
              <a:t>ett typfall på </a:t>
            </a: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  <a:hlinkClick r:id="rId5"/>
              </a:rPr>
              <a:t>https://www.vardochinsats.se/test-av-anvaendbarhet/</a:t>
            </a: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dirty="0" smtClean="0">
                <a:latin typeface="Calibri" panose="020F0502020204030204" pitchFamily="34" charset="0"/>
                <a:cs typeface="Calibri" panose="020F0502020204030204" pitchFamily="34" charset="0"/>
              </a:rPr>
              <a:t>och </a:t>
            </a: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</a:rPr>
              <a:t>läs </a:t>
            </a:r>
            <a:r>
              <a:rPr lang="sv-SE" dirty="0" smtClean="0">
                <a:latin typeface="Calibri" panose="020F0502020204030204" pitchFamily="34" charset="0"/>
                <a:cs typeface="Calibri" panose="020F0502020204030204" pitchFamily="34" charset="0"/>
              </a:rPr>
              <a:t>igenom fallet</a:t>
            </a:r>
            <a:endParaRPr lang="sv-S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87363" indent="-457200">
              <a:buFont typeface="+mj-lt"/>
              <a:buAutoNum type="arabicPeriod"/>
            </a:pP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</a:rPr>
              <a:t>Gå till </a:t>
            </a: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  <a:hlinkClick r:id="rId6"/>
              </a:rPr>
              <a:t>vårdochinsats.se</a:t>
            </a: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</a:rPr>
              <a:t> och välj </a:t>
            </a:r>
            <a:r>
              <a:rPr lang="sv-SE" dirty="0" smtClean="0">
                <a:latin typeface="Calibri" panose="020F0502020204030204" pitchFamily="34" charset="0"/>
                <a:cs typeface="Calibri" panose="020F0502020204030204" pitchFamily="34" charset="0"/>
              </a:rPr>
              <a:t>VIP</a:t>
            </a:r>
            <a:endParaRPr lang="sv-S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87363" indent="-457200">
              <a:buFont typeface="+mj-lt"/>
              <a:buAutoNum type="arabicPeriod"/>
            </a:pP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</a:rPr>
              <a:t>Prova att söka fram information som är användbar inför (eller i) det fiktiva mötet, notera eventuella synpunkter</a:t>
            </a:r>
          </a:p>
          <a:p>
            <a:pPr marL="487363" indent="-457200">
              <a:buFont typeface="+mj-lt"/>
              <a:buAutoNum type="arabicPeriod"/>
            </a:pP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</a:rPr>
              <a:t>Gå till </a:t>
            </a: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  <a:hlinkClick r:id="rId7"/>
              </a:rPr>
              <a:t>enkäten för utkastversion</a:t>
            </a: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</a:rPr>
              <a:t> eller lämna synpunkter i </a:t>
            </a: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  <a:hlinkClick r:id="rId8"/>
              </a:rPr>
              <a:t>enkäten för färdig version</a:t>
            </a: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</a:rPr>
              <a:t> beroende på vilken version som testas</a:t>
            </a:r>
            <a:endParaRPr lang="sv-SE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87363" indent="-457200">
              <a:buFont typeface="+mj-lt"/>
              <a:buAutoNum type="arabicPeriod"/>
            </a:pPr>
            <a:r>
              <a:rPr lang="sv-SE" dirty="0" smtClean="0">
                <a:latin typeface="Calibri" panose="020F0502020204030204" pitchFamily="34" charset="0"/>
                <a:cs typeface="Calibri" panose="020F0502020204030204" pitchFamily="34" charset="0"/>
              </a:rPr>
              <a:t>Upprepa </a:t>
            </a:r>
            <a:r>
              <a:rPr lang="sv-SE" dirty="0">
                <a:latin typeface="Calibri" panose="020F0502020204030204" pitchFamily="34" charset="0"/>
                <a:cs typeface="Calibri" panose="020F0502020204030204" pitchFamily="34" charset="0"/>
              </a:rPr>
              <a:t>gärna för </a:t>
            </a:r>
            <a:r>
              <a:rPr lang="sv-SE" dirty="0" smtClean="0">
                <a:latin typeface="Calibri" panose="020F0502020204030204" pitchFamily="34" charset="0"/>
                <a:cs typeface="Calibri" panose="020F0502020204030204" pitchFamily="34" charset="0"/>
              </a:rPr>
              <a:t>fler fall</a:t>
            </a:r>
            <a:endParaRPr lang="sv-SE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Bildobjekt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262" y="3843580"/>
            <a:ext cx="4521630" cy="3014420"/>
          </a:xfrm>
          <a:prstGeom prst="rect">
            <a:avLst/>
          </a:prstGeom>
        </p:spPr>
      </p:pic>
      <p:sp>
        <p:nvSpPr>
          <p:cNvPr id="4" name="textruta 3"/>
          <p:cNvSpPr txBox="1"/>
          <p:nvPr/>
        </p:nvSpPr>
        <p:spPr>
          <a:xfrm>
            <a:off x="657724" y="1543361"/>
            <a:ext cx="903646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400" i="1" dirty="0">
                <a:latin typeface="Calibri" panose="020F0502020204030204" pitchFamily="34" charset="0"/>
                <a:cs typeface="Calibri" panose="020F0502020204030204" pitchFamily="34" charset="0"/>
              </a:rPr>
              <a:t>Kan göras i grupp (workshop, APT </a:t>
            </a:r>
            <a:r>
              <a:rPr lang="sv-SE" sz="2400" i="1" dirty="0" err="1">
                <a:latin typeface="Calibri" panose="020F0502020204030204" pitchFamily="34" charset="0"/>
                <a:cs typeface="Calibri" panose="020F0502020204030204" pitchFamily="34" charset="0"/>
              </a:rPr>
              <a:t>etc</a:t>
            </a:r>
            <a:r>
              <a:rPr lang="sv-SE" sz="2400" i="1" dirty="0">
                <a:latin typeface="Calibri" panose="020F0502020204030204" pitchFamily="34" charset="0"/>
                <a:cs typeface="Calibri" panose="020F0502020204030204" pitchFamily="34" charset="0"/>
              </a:rPr>
              <a:t>) eller enskilt</a:t>
            </a:r>
          </a:p>
          <a:p>
            <a:endParaRPr lang="sv-SE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Ljud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1366500" y="603250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964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219"/>
    </mc:Choice>
    <mc:Fallback xmlns="">
      <p:transition spd="slow" advTm="6521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27000">
                <a:schemeClr val="bg1"/>
              </a:gs>
              <a:gs pos="0">
                <a:srgbClr val="A4CAD4"/>
              </a:gs>
            </a:gsLst>
            <a:lin ang="15000000" scaled="0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57726" y="1019376"/>
            <a:ext cx="10515600" cy="1090696"/>
          </a:xfrm>
        </p:spPr>
        <p:txBody>
          <a:bodyPr>
            <a:noAutofit/>
          </a:bodyPr>
          <a:lstStyle/>
          <a:p>
            <a:r>
              <a:rPr lang="sv-SE" b="1" dirty="0" smtClean="0">
                <a:solidFill>
                  <a:srgbClr val="016773"/>
                </a:solidFill>
                <a:latin typeface="+mn-lt"/>
              </a:rPr>
              <a:t>Användarguide för vårdochinsats.se</a:t>
            </a:r>
            <a:endParaRPr lang="sv-SE" b="1" dirty="0">
              <a:solidFill>
                <a:srgbClr val="016773"/>
              </a:solidFill>
              <a:latin typeface="+mn-lt"/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57725" y="2742594"/>
            <a:ext cx="7415464" cy="3239147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sv-SE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VIP publiceras på webbplatsen Vårdochinsats.se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v-SE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Vårdochinsats.se har avancerade funktioner som hjälper dig hitta just den information som du har användning för, i den aktuella situationen</a:t>
            </a:r>
            <a:endParaRPr lang="sv-SE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sv-SE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Användarguiden visar hur du använder webbplatsen: </a:t>
            </a:r>
            <a:r>
              <a:rPr lang="sv-SE" sz="2400" dirty="0" smtClean="0">
                <a:latin typeface="Calibri" panose="020F0502020204030204" pitchFamily="34" charset="0"/>
                <a:cs typeface="Calibri" panose="020F0502020204030204" pitchFamily="34" charset="0"/>
                <a:hlinkClick r:id="rId5"/>
              </a:rPr>
              <a:t>Användarguide för Vårdochinsats.se</a:t>
            </a:r>
            <a:endParaRPr lang="sv-SE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2531" y="3129447"/>
            <a:ext cx="3025082" cy="2465442"/>
          </a:xfrm>
          <a:prstGeom prst="rect">
            <a:avLst/>
          </a:prstGeom>
        </p:spPr>
      </p:pic>
      <p:pic>
        <p:nvPicPr>
          <p:cNvPr id="9" name="Ljud 8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366500" y="603250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792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5577"/>
    </mc:Choice>
    <mc:Fallback xmlns="">
      <p:transition spd="slow" advTm="4557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75AEBD"/>
              </a:gs>
              <a:gs pos="48000">
                <a:srgbClr val="3E8494"/>
              </a:gs>
              <a:gs pos="0">
                <a:srgbClr val="016773"/>
              </a:gs>
            </a:gsLst>
            <a:lin ang="20700000" scaled="0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2037383" y="1990739"/>
            <a:ext cx="7899010" cy="179470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sv-SE" sz="4000" i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Tack för att du är med och utvecklar vård- och insatsprogrammen!</a:t>
            </a:r>
            <a:endParaRPr lang="sv-SE" sz="4000" i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" name="Rubrik 3"/>
          <p:cNvSpPr txBox="1">
            <a:spLocks/>
          </p:cNvSpPr>
          <p:nvPr/>
        </p:nvSpPr>
        <p:spPr>
          <a:xfrm>
            <a:off x="8661114" y="3133526"/>
            <a:ext cx="765244" cy="17947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18000" i="1" dirty="0" smtClean="0">
                <a:solidFill>
                  <a:srgbClr val="87C3DF"/>
                </a:solidFill>
                <a:latin typeface="Georgia" panose="02040502050405020303" pitchFamily="18" charset="0"/>
              </a:rPr>
              <a:t>”</a:t>
            </a:r>
            <a:endParaRPr lang="sv-SE" sz="18000" i="1" dirty="0">
              <a:solidFill>
                <a:srgbClr val="87C3DF"/>
              </a:solidFill>
              <a:latin typeface="Georgia" panose="02040502050405020303" pitchFamily="18" charset="0"/>
            </a:endParaRPr>
          </a:p>
        </p:txBody>
      </p:sp>
      <p:sp>
        <p:nvSpPr>
          <p:cNvPr id="6" name="Rubrik 3"/>
          <p:cNvSpPr txBox="1">
            <a:spLocks/>
          </p:cNvSpPr>
          <p:nvPr/>
        </p:nvSpPr>
        <p:spPr>
          <a:xfrm rot="10800000">
            <a:off x="1824011" y="975426"/>
            <a:ext cx="765244" cy="17947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18000" i="1" smtClean="0">
                <a:solidFill>
                  <a:srgbClr val="87C3DF"/>
                </a:solidFill>
                <a:latin typeface="Georgia" panose="02040502050405020303" pitchFamily="18" charset="0"/>
              </a:rPr>
              <a:t>”</a:t>
            </a:r>
            <a:endParaRPr lang="sv-SE" sz="18000" i="1" dirty="0">
              <a:solidFill>
                <a:srgbClr val="87C3DF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Bildobjekt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3399" y="4779550"/>
            <a:ext cx="3319192" cy="2171701"/>
          </a:xfrm>
          <a:prstGeom prst="rect">
            <a:avLst/>
          </a:prstGeom>
        </p:spPr>
      </p:pic>
      <p:sp>
        <p:nvSpPr>
          <p:cNvPr id="10" name="Rubrik 3"/>
          <p:cNvSpPr txBox="1">
            <a:spLocks/>
          </p:cNvSpPr>
          <p:nvPr/>
        </p:nvSpPr>
        <p:spPr>
          <a:xfrm>
            <a:off x="8039100" y="5049051"/>
            <a:ext cx="3107161" cy="17947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sv-SE" sz="3200" b="1" smtClean="0">
                <a:solidFill>
                  <a:srgbClr val="016773"/>
                </a:solidFill>
                <a:latin typeface="+mn-lt"/>
              </a:rPr>
              <a:t>För en jämlik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sv-SE" sz="3200" b="1" smtClean="0">
                <a:solidFill>
                  <a:srgbClr val="016773"/>
                </a:solidFill>
                <a:latin typeface="+mn-lt"/>
              </a:rPr>
              <a:t>psykisk hälsa</a:t>
            </a:r>
            <a:endParaRPr lang="sv-SE" sz="3200" b="1" dirty="0">
              <a:solidFill>
                <a:srgbClr val="016773"/>
              </a:solidFill>
              <a:latin typeface="+mn-lt"/>
            </a:endParaRPr>
          </a:p>
        </p:txBody>
      </p:sp>
      <p:pic>
        <p:nvPicPr>
          <p:cNvPr id="8" name="Ljud 7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366500" y="603250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852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265"/>
    </mc:Choice>
    <mc:Fallback xmlns="">
      <p:transition spd="slow" advTm="1726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KL PPT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L grå.potx" id="{5695A1C9-F929-4530-AAB0-6184E3E53996}" vid="{87EE660F-6663-4DD2-8F44-69F2EA8D050C}"/>
    </a:ext>
  </a:extLst>
</a:theme>
</file>

<file path=ppt/theme/theme2.xml><?xml version="1.0" encoding="utf-8"?>
<a:theme xmlns:a="http://schemas.openxmlformats.org/drawingml/2006/main" name="Vit SKL PPT">
  <a:themeElements>
    <a:clrScheme name="SKL PP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L grå.potx" id="{5695A1C9-F929-4530-AAB0-6184E3E53996}" vid="{41DFCB59-CA65-44F2-AFE8-3398A5A4045F}"/>
    </a:ext>
  </a:extLst>
</a:theme>
</file>

<file path=ppt/theme/theme3.xml><?xml version="1.0" encoding="utf-8"?>
<a:theme xmlns:a="http://schemas.openxmlformats.org/drawingml/2006/main" name="Inledningsbilder">
  <a:themeElements>
    <a:clrScheme name="SKL PP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L grå.potx" id="{5695A1C9-F929-4530-AAB0-6184E3E53996}" vid="{EB6D4100-FEBF-4699-9587-93DE1200B5DA}"/>
    </a:ext>
  </a:extLst>
</a:theme>
</file>

<file path=ppt/theme/theme4.xml><?xml version="1.0" encoding="utf-8"?>
<a:theme xmlns:a="http://schemas.openxmlformats.org/drawingml/2006/main" name="SKL PPT Mörk">
  <a:themeElements>
    <a:clrScheme name="SKL PPT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L grå.potx" id="{5695A1C9-F929-4530-AAB0-6184E3E53996}" vid="{A3C3E367-1D4D-412D-A683-D4C1CEFFDD8E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KL grå</Template>
  <TotalTime>813</TotalTime>
  <Words>483</Words>
  <Application>Microsoft Office PowerPoint</Application>
  <PresentationFormat>Bredbild</PresentationFormat>
  <Paragraphs>81</Paragraphs>
  <Slides>9</Slides>
  <Notes>9</Notes>
  <HiddenSlides>0</HiddenSlides>
  <MMClips>9</MMClips>
  <ScaleCrop>false</ScaleCrop>
  <HeadingPairs>
    <vt:vector size="8" baseType="variant">
      <vt:variant>
        <vt:lpstr>Använt teckensnitt</vt:lpstr>
      </vt:variant>
      <vt:variant>
        <vt:i4>8</vt:i4>
      </vt:variant>
      <vt:variant>
        <vt:lpstr>Tema</vt:lpstr>
      </vt:variant>
      <vt:variant>
        <vt:i4>5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9</vt:i4>
      </vt:variant>
    </vt:vector>
  </HeadingPairs>
  <TitlesOfParts>
    <vt:vector size="23" baseType="lpstr">
      <vt:lpstr>Arial</vt:lpstr>
      <vt:lpstr>Calibri</vt:lpstr>
      <vt:lpstr>Calibri Light</vt:lpstr>
      <vt:lpstr>Courier New</vt:lpstr>
      <vt:lpstr>Georgia</vt:lpstr>
      <vt:lpstr>Symbol</vt:lpstr>
      <vt:lpstr>Verdana</vt:lpstr>
      <vt:lpstr>Wingdings</vt:lpstr>
      <vt:lpstr>SKL PPT</vt:lpstr>
      <vt:lpstr>Vit SKL PPT</vt:lpstr>
      <vt:lpstr>Inledningsbilder</vt:lpstr>
      <vt:lpstr>SKL PPT Mörk</vt:lpstr>
      <vt:lpstr>Office-tema</vt:lpstr>
      <vt:lpstr>think-cell Slide</vt:lpstr>
      <vt:lpstr>Test av användbarhet</vt:lpstr>
      <vt:lpstr>Nationella vård- och insatsprogram (VIP) inom psykisk hälsa</vt:lpstr>
      <vt:lpstr>Struktur för kunskapsutbyte</vt:lpstr>
      <vt:lpstr>PowerPoint-presentation</vt:lpstr>
      <vt:lpstr>PowerPoint-presentation</vt:lpstr>
      <vt:lpstr>Testa VIP i mötet med verklig patient/brukare</vt:lpstr>
      <vt:lpstr>Testa VIP för fiktiv patient/brukare</vt:lpstr>
      <vt:lpstr>Användarguide för vårdochinsats.se</vt:lpstr>
      <vt:lpstr>Tack för att du är med och utvecklar vård- och insatsprogrammen!</vt:lpstr>
    </vt:vector>
  </TitlesOfParts>
  <Company>Sverige Kommuner och Landsti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st av nationella vård- och insatsprogram</dc:title>
  <dc:creator>Tunér Henrik</dc:creator>
  <cp:lastModifiedBy>Tunér Henrik</cp:lastModifiedBy>
  <cp:revision>51</cp:revision>
  <dcterms:created xsi:type="dcterms:W3CDTF">2019-03-20T09:58:58Z</dcterms:created>
  <dcterms:modified xsi:type="dcterms:W3CDTF">2019-05-02T14:53:05Z</dcterms:modified>
</cp:coreProperties>
</file>